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8" r:id="rId3"/>
    <p:sldId id="259" r:id="rId4"/>
    <p:sldId id="260" r:id="rId5"/>
    <p:sldId id="261" r:id="rId6"/>
    <p:sldId id="262" r:id="rId7"/>
    <p:sldId id="264" r:id="rId8"/>
    <p:sldId id="263" r:id="rId9"/>
    <p:sldId id="257" r:id="rId10"/>
  </p:sldIdLst>
  <p:sldSz cx="12192000" cy="6858000"/>
  <p:notesSz cx="6797675" cy="9928225"/>
  <p:custDataLst>
    <p:tags r:id="rId1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7" orient="horz" pos="2500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pos="1336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41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90F22"/>
    <a:srgbClr val="2D2D2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20030" autoAdjust="0"/>
    <p:restoredTop sz="96229" autoAdjust="0"/>
  </p:normalViewPr>
  <p:slideViewPr>
    <p:cSldViewPr snapToGrid="0" showGuides="1">
      <p:cViewPr>
        <p:scale>
          <a:sx n="70" d="100"/>
          <a:sy n="70" d="100"/>
        </p:scale>
        <p:origin x="-168" y="-156"/>
      </p:cViewPr>
      <p:guideLst>
        <p:guide orient="horz" pos="2500"/>
        <p:guide orient="horz" pos="4020"/>
        <p:guide pos="1336"/>
        <p:guide pos="3840"/>
        <p:guide pos="2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3216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5C4943-AE4B-43D1-B023-9EEE58EB47A8}" type="datetimeFigureOut">
              <a:rPr lang="de-DE" smtClean="0"/>
              <a:pPr/>
              <a:t>05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9F9DD-6822-4FF1-87BA-967F36EBF4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84981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DB9A5-3D10-4819-A2A0-8696EC11BDD3}" type="datetimeFigureOut">
              <a:rPr lang="de-DE" smtClean="0"/>
              <a:pPr/>
              <a:t>05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8983E0-8040-4142-8CFC-4D55C3F5328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481713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983E0-8040-4142-8CFC-4D55C3F5328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724963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35492" y="2465388"/>
            <a:ext cx="11521546" cy="39878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3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34434" y="2457450"/>
            <a:ext cx="11521017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8367" y="1449389"/>
            <a:ext cx="8856155" cy="944563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367" y="488950"/>
            <a:ext cx="8856155" cy="838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20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5" name="Picture 105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6848920-E2BD-401A-B47A-59A413860300}" type="datetime1">
              <a:rPr lang="de-DE" sz="1000" smtClean="0"/>
              <a:pPr/>
              <a:t>05.05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372527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345018" y="4247333"/>
            <a:ext cx="11474449" cy="2208297"/>
          </a:xfrm>
          <a:prstGeom prst="rect">
            <a:avLst/>
          </a:prstGeom>
        </p:spPr>
        <p:txBody>
          <a:bodyPr lIns="180000">
            <a:spAutoFit/>
          </a:bodyPr>
          <a:lstStyle/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Joachim Metternich</a:t>
            </a:r>
          </a:p>
          <a:p>
            <a:pPr marL="0" marR="0" lvl="0" indent="0" algn="l" defTabSz="231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Matthias Weigold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>
              <a:defRPr/>
            </a:pPr>
            <a:r>
              <a:rPr lang="de-DE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für Produktionsmanagement, Technologie und Werkzeugmaschinen</a:t>
            </a:r>
            <a: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231775" fontAlgn="auto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tto-Berndt-Straße </a:t>
            </a: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</a:t>
            </a:r>
            <a:b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287 Darmstadt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.:		+49 61 51 | 16 </a:t>
            </a: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80</a:t>
            </a:r>
            <a:b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+49 61 51 | 16 20087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		info@ptw.tu-darmstadt.de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et:	www.ptw.tu-darmstadt.de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0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335492" y="2457450"/>
            <a:ext cx="11521546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5" name="Textfeld 4"/>
          <p:cNvSpPr txBox="1"/>
          <p:nvPr userDrawn="1"/>
        </p:nvSpPr>
        <p:spPr>
          <a:xfrm>
            <a:off x="334433" y="1521813"/>
            <a:ext cx="74260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>
            <a:lvl1pPr lvl="0" eaLnBrk="1" hangingPunct="1">
              <a:buFont typeface="Wingdings" pitchFamily="2" charset="2"/>
              <a:defRPr sz="1800" b="0" baseline="0">
                <a:solidFill>
                  <a:srgbClr val="606060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marL="265113" indent="-179388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600">
                <a:latin typeface="+mn-lt"/>
                <a:cs typeface="Tahoma" pitchFamily="34" charset="0"/>
              </a:defRPr>
            </a:lvl2pPr>
            <a:lvl3pPr marL="449263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400">
                <a:latin typeface="+mn-lt"/>
                <a:cs typeface="Tahoma" pitchFamily="34" charset="0"/>
              </a:defRPr>
            </a:lvl3pPr>
            <a:lvl4pPr marL="717550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4pPr>
            <a:lvl5pPr marL="908050" indent="-188913" defTabSz="863600" eaLnBrk="1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pPr lvl="0"/>
            <a:r>
              <a:rPr lang="de-DE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i Fragen stehen wir Ihnen gerne zur Verfügung.</a:t>
            </a:r>
          </a:p>
        </p:txBody>
      </p:sp>
      <p:sp>
        <p:nvSpPr>
          <p:cNvPr id="4" name="Titel 1"/>
          <p:cNvSpPr txBox="1">
            <a:spLocks/>
          </p:cNvSpPr>
          <p:nvPr userDrawn="1"/>
        </p:nvSpPr>
        <p:spPr bwMode="auto">
          <a:xfrm>
            <a:off x="347152" y="516835"/>
            <a:ext cx="7691083" cy="89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altLang="de-DE" sz="2600" b="1" baseline="0">
                <a:solidFill>
                  <a:schemeClr val="bg1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2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elen Dank für Ihre Aufmerksamkeit!</a:t>
            </a:r>
          </a:p>
        </p:txBody>
      </p:sp>
      <p:pic>
        <p:nvPicPr>
          <p:cNvPr id="15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8" name="Bildplatzhalt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4326"/>
          <a:stretch/>
        </p:blipFill>
        <p:spPr bwMode="auto">
          <a:xfrm>
            <a:off x="8767763" y="2465401"/>
            <a:ext cx="3089275" cy="389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5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Line 15"/>
          <p:cNvSpPr>
            <a:spLocks noChangeShapeType="1"/>
          </p:cNvSpPr>
          <p:nvPr userDrawn="1"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C5515FF-CD19-44F1-8B6F-3FFD85D82A1C}" type="datetime1">
              <a:rPr lang="de-DE" sz="1000" smtClean="0"/>
              <a:pPr/>
              <a:t>05.05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157990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2333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16395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gegenübergestell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/>
          <p:cNvSpPr>
            <a:spLocks/>
          </p:cNvSpPr>
          <p:nvPr userDrawn="1"/>
        </p:nvSpPr>
        <p:spPr bwMode="auto">
          <a:xfrm>
            <a:off x="6037693" y="1566863"/>
            <a:ext cx="116619" cy="488632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233039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015485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37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verknüpf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976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753038" y="1566863"/>
            <a:ext cx="4104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Gleichschenkliges Dreieck 5"/>
          <p:cNvSpPr/>
          <p:nvPr userDrawn="1"/>
        </p:nvSpPr>
        <p:spPr bwMode="auto">
          <a:xfrm rot="5400000">
            <a:off x="6597819" y="3863980"/>
            <a:ext cx="929490" cy="383820"/>
          </a:xfrm>
          <a:prstGeom prst="triangl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714383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Rechteck 5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7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571609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218281" y="444500"/>
            <a:ext cx="11755438" cy="60929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6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86528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8"/>
          <p:cNvSpPr>
            <a:spLocks noChangeArrowheads="1"/>
          </p:cNvSpPr>
          <p:nvPr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8" name="Line 1039"/>
          <p:cNvSpPr>
            <a:spLocks noChangeShapeType="1"/>
          </p:cNvSpPr>
          <p:nvPr/>
        </p:nvSpPr>
        <p:spPr bwMode="auto">
          <a:xfrm>
            <a:off x="335492" y="1449388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Rectangle 1041"/>
          <p:cNvSpPr>
            <a:spLocks noChangeArrowheads="1"/>
          </p:cNvSpPr>
          <p:nvPr/>
        </p:nvSpPr>
        <p:spPr bwMode="auto">
          <a:xfrm>
            <a:off x="335492" y="36671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35492" y="1566863"/>
            <a:ext cx="11521546" cy="488632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Picture 1056" descr="PTW_Logo_Folien und Web_deutsch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2601" y="536989"/>
            <a:ext cx="121443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mpower - DO NOT DELETE!!!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5"/>
          <p:cNvSpPr>
            <a:spLocks noChangeShapeType="1"/>
          </p:cNvSpPr>
          <p:nvPr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3" name="Rechteck 22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2E42DD58-0154-4386-A931-87D4C410BB8F}" type="slidenum">
              <a:rPr lang="de-DE" sz="1000" smtClean="0"/>
              <a:pPr/>
              <a:t>‹#›</a:t>
            </a:fld>
            <a:r>
              <a:rPr lang="de-DE" sz="1000" dirty="0"/>
              <a:t> |      </a:t>
            </a:r>
            <a:fld id="{25199C17-47E6-4289-80AC-0320C9FA1FBB}" type="datetime1">
              <a:rPr lang="de-DE" sz="1000" smtClean="0"/>
              <a:pPr/>
              <a:t>05.05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304567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2" r:id="rId9"/>
    <p:sldLayoutId id="214748370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de-DE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981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 dirty="0"/>
              <a:t/>
            </a:r>
            <a:br>
              <a:rPr lang="de-DE" altLang="de-DE" dirty="0"/>
            </a:br>
            <a:r>
              <a:rPr lang="de-DE" altLang="de-DE" dirty="0"/>
              <a:t>Darmstadt | </a:t>
            </a:r>
            <a:r>
              <a:rPr lang="de-DE" altLang="de-DE" dirty="0" smtClean="0"/>
              <a:t>05</a:t>
            </a:r>
            <a:r>
              <a:rPr lang="de-DE" altLang="de-DE" dirty="0" smtClean="0"/>
              <a:t>. </a:t>
            </a:r>
            <a:r>
              <a:rPr altLang="de-DE" smtClean="0"/>
              <a:t>may</a:t>
            </a:r>
            <a:r>
              <a:rPr lang="de-DE" altLang="de-DE" dirty="0" smtClean="0"/>
              <a:t> </a:t>
            </a:r>
            <a:r>
              <a:rPr lang="de-DE" altLang="de-DE" dirty="0" smtClean="0"/>
              <a:t>2022</a:t>
            </a:r>
            <a:endParaRPr lang="de-DE" altLang="de-DE" dirty="0"/>
          </a:p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Work Updates: </a:t>
            </a:r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Protocol trends</a:t>
            </a:r>
            <a:endParaRPr lang="de-DE" dirty="0"/>
          </a:p>
        </p:txBody>
      </p:sp>
      <p:pic>
        <p:nvPicPr>
          <p:cNvPr id="7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055" b="24055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60652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Tahoma" panose="020B0604030504040204" pitchFamily="34" charset="0"/>
              </a:rPr>
              <a:t>Agenda</a:t>
            </a:r>
          </a:p>
        </p:txBody>
      </p:sp>
      <p:sp>
        <p:nvSpPr>
          <p:cNvPr id="8" name="Rectangle 4">
            <a:hlinkClick r:id="" action="ppaction://noaction"/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592165" y="2026474"/>
            <a:ext cx="9697057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 smtClean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Primary trends of protocols</a:t>
            </a:r>
            <a:endParaRPr lang="de-DE" sz="1600" dirty="0">
              <a:solidFill>
                <a:schemeClr val="tx1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hlinkClick r:id="" action="ppaction://noaction"/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132684" y="2044612"/>
            <a:ext cx="338181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="" xmlns:p14="http://schemas.microsoft.com/office/powerpoint/2010/main" val="236942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Durchmesser</a:t>
            </a:r>
            <a:endParaRPr lang="en-US" dirty="0"/>
          </a:p>
        </p:txBody>
      </p:sp>
      <p:pic>
        <p:nvPicPr>
          <p:cNvPr id="4" name="Picture 3" descr="Durch_SL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7715" y="1948765"/>
            <a:ext cx="6144285" cy="3243982"/>
          </a:xfrm>
          <a:prstGeom prst="rect">
            <a:avLst/>
          </a:prstGeom>
        </p:spPr>
      </p:pic>
      <p:pic>
        <p:nvPicPr>
          <p:cNvPr id="5" name="Picture 4" descr="Durch_S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3909"/>
            <a:ext cx="6150464" cy="320353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970239" y="5567881"/>
            <a:ext cx="2719334" cy="400110"/>
          </a:xfrm>
          <a:prstGeom prst="rect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2000" dirty="0" smtClean="0"/>
              <a:t>Clear Downward trend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Radialwinkel</a:t>
            </a:r>
            <a:endParaRPr lang="en-US" dirty="0"/>
          </a:p>
        </p:txBody>
      </p:sp>
      <p:pic>
        <p:nvPicPr>
          <p:cNvPr id="4" name="Picture 3" descr="radial_SL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948" y="2303884"/>
            <a:ext cx="6076052" cy="3100709"/>
          </a:xfrm>
          <a:prstGeom prst="rect">
            <a:avLst/>
          </a:prstGeom>
        </p:spPr>
      </p:pic>
      <p:pic>
        <p:nvPicPr>
          <p:cNvPr id="5" name="Picture 4" descr="radial_S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72814"/>
            <a:ext cx="6151271" cy="310070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 flipH="1">
            <a:off x="1919786" y="1909830"/>
            <a:ext cx="1873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 smtClean="0"/>
              <a:t>Radialwinkel</a:t>
            </a:r>
            <a:r>
              <a:rPr lang="en-IN" dirty="0" smtClean="0"/>
              <a:t> SR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 flipH="1">
            <a:off x="8138007" y="1908321"/>
            <a:ext cx="1873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 smtClean="0"/>
              <a:t>Radialwinkel</a:t>
            </a:r>
            <a:r>
              <a:rPr lang="en-IN" dirty="0" smtClean="0"/>
              <a:t> S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Radialwinkel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 flipH="1">
            <a:off x="4735414" y="1719708"/>
            <a:ext cx="1873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 smtClean="0"/>
              <a:t>Radialwinkel</a:t>
            </a:r>
            <a:r>
              <a:rPr lang="en-IN" dirty="0" smtClean="0"/>
              <a:t> SL</a:t>
            </a:r>
            <a:endParaRPr lang="en-US" dirty="0"/>
          </a:p>
        </p:txBody>
      </p:sp>
      <p:pic>
        <p:nvPicPr>
          <p:cNvPr id="8" name="Picture 7" descr="radial_SL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1295" y="2104708"/>
            <a:ext cx="6662141" cy="33998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906977" y="5658415"/>
            <a:ext cx="1574918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dirty="0" smtClean="0"/>
              <a:t>Upward trend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Spanwinkel</a:t>
            </a:r>
            <a:endParaRPr lang="en-US" dirty="0"/>
          </a:p>
        </p:txBody>
      </p:sp>
      <p:pic>
        <p:nvPicPr>
          <p:cNvPr id="4" name="Picture 3" descr="span_SL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1566" y="1957818"/>
            <a:ext cx="5965339" cy="3175497"/>
          </a:xfrm>
          <a:prstGeom prst="rect">
            <a:avLst/>
          </a:prstGeom>
        </p:spPr>
      </p:pic>
      <p:pic>
        <p:nvPicPr>
          <p:cNvPr id="5" name="Picture 4" descr="span_S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907" y="1928388"/>
            <a:ext cx="6077939" cy="319587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970239" y="5567881"/>
            <a:ext cx="2719334" cy="400110"/>
          </a:xfrm>
          <a:prstGeom prst="rect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2000" dirty="0" smtClean="0"/>
              <a:t>Clear Downward trend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ingle tool analysis: TOOL 3</a:t>
            </a:r>
            <a:endParaRPr lang="en-US" dirty="0"/>
          </a:p>
        </p:txBody>
      </p:sp>
      <p:pic>
        <p:nvPicPr>
          <p:cNvPr id="4" name="Picture 3" descr="TOOL3_SL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4399" y="2276724"/>
            <a:ext cx="6011306" cy="3046714"/>
          </a:xfrm>
          <a:prstGeom prst="rect">
            <a:avLst/>
          </a:prstGeom>
        </p:spPr>
      </p:pic>
      <p:pic>
        <p:nvPicPr>
          <p:cNvPr id="5" name="Picture 4" descr="TOOL3_S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72816"/>
            <a:ext cx="6011501" cy="304681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580237" y="1747319"/>
            <a:ext cx="1295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SR proces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015742" y="1800131"/>
            <a:ext cx="1268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SL process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 rot="16200000" flipH="1">
            <a:off x="3562541" y="3933730"/>
            <a:ext cx="5024673" cy="362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rends 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850931" y="2304023"/>
          <a:ext cx="876878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4392"/>
                <a:gridCol w="4384392"/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PROTOCO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TREN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Durchmess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Decreasing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Spanwink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Decreasing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Radialwink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ncreasing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Absta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Equal value (Currently less data points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Rundlauf</a:t>
                      </a:r>
                      <a:endParaRPr lang="en-I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available in new protocol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Schneidkantenradi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available in old protocol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39962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0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12"/>
  <p:tag name="MIO_HDS" val="True"/>
  <p:tag name="MIO_EK" val="1994"/>
  <p:tag name="MIO_EKGUID" val="54207b15-80d7-4358-8cd5-fc74d87389e8"/>
  <p:tag name="MIO_UPDATE" val="True"/>
  <p:tag name="MIO_VERSION" val="26.10.2016 20:49:02"/>
  <p:tag name="MIO_DBID" val="EE4D46FE-EB1A-419B-9F0D-3CD081CD465D"/>
  <p:tag name="MIO_LASTDOWNLOADED" val="18.10.2017 12:50:59"/>
  <p:tag name="MIO_OBJECTNAME" val="PTW/CiP_PP_16:9"/>
  <p:tag name="MIO_CDID" val="2a849c11-5d3f-4d6a-9381-b793f1774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Institutsvorstellung_PTW_16_9_deutsch">
  <a:themeElements>
    <a:clrScheme name="PTW">
      <a:dk1>
        <a:srgbClr val="2D2D2D"/>
      </a:dk1>
      <a:lt1>
        <a:sysClr val="window" lastClr="FFFFFF"/>
      </a:lt1>
      <a:dk2>
        <a:srgbClr val="B90F22"/>
      </a:dk2>
      <a:lt2>
        <a:srgbClr val="EEEEEE"/>
      </a:lt2>
      <a:accent1>
        <a:srgbClr val="535353"/>
      </a:accent1>
      <a:accent2>
        <a:srgbClr val="898989"/>
      </a:accent2>
      <a:accent3>
        <a:srgbClr val="B90F22"/>
      </a:accent3>
      <a:accent4>
        <a:srgbClr val="F5A300"/>
      </a:accent4>
      <a:accent5>
        <a:srgbClr val="99C000"/>
      </a:accent5>
      <a:accent6>
        <a:srgbClr val="0070C0"/>
      </a:accent6>
      <a:hlink>
        <a:srgbClr val="969090"/>
      </a:hlink>
      <a:folHlink>
        <a:srgbClr val="646060"/>
      </a:folHlink>
    </a:clrScheme>
    <a:fontScheme name="PTW TU Darmstad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PTW-Template_16_9_deutsch" id="{90B12629-6A96-43A9-BF16-209A8CF78174}" vid="{D103B001-7485-42EE-AE9F-CDF1D30396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TW-Template_16_9_deutsch</Template>
  <TotalTime>202</TotalTime>
  <Words>70</Words>
  <Application>Microsoft Office PowerPoint</Application>
  <PresentationFormat>Custom</PresentationFormat>
  <Paragraphs>34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Institutsvorstellung_PTW_16_9_deutsch</vt:lpstr>
      <vt:lpstr>Work Updates: Protocol trends</vt:lpstr>
      <vt:lpstr>Agenda</vt:lpstr>
      <vt:lpstr>Durchmesser</vt:lpstr>
      <vt:lpstr>Radialwinkel</vt:lpstr>
      <vt:lpstr>Radialwinkel</vt:lpstr>
      <vt:lpstr>Spanwinkel</vt:lpstr>
      <vt:lpstr>Single tool analysis: TOOL 3</vt:lpstr>
      <vt:lpstr>Trends 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Folienpräsentation</dc:title>
  <dc:creator>Weisbrod, Nik</dc:creator>
  <cp:lastModifiedBy>Abhi</cp:lastModifiedBy>
  <cp:revision>21</cp:revision>
  <cp:lastPrinted>2018-10-22T09:03:00Z</cp:lastPrinted>
  <dcterms:created xsi:type="dcterms:W3CDTF">2021-11-23T09:01:22Z</dcterms:created>
  <dcterms:modified xsi:type="dcterms:W3CDTF">2022-05-05T11:01:01Z</dcterms:modified>
</cp:coreProperties>
</file>